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258" r:id="rId2"/>
    <p:sldId id="267" r:id="rId3"/>
    <p:sldId id="263" r:id="rId4"/>
    <p:sldId id="268" r:id="rId5"/>
    <p:sldId id="269" r:id="rId6"/>
    <p:sldId id="270" r:id="rId7"/>
    <p:sldId id="271" r:id="rId8"/>
    <p:sldId id="272" r:id="rId9"/>
    <p:sldId id="273" r:id="rId10"/>
    <p:sldId id="274" r:id="rId11"/>
    <p:sldId id="275" r:id="rId12"/>
    <p:sldId id="276" r:id="rId13"/>
    <p:sldId id="277" r:id="rId14"/>
    <p:sldId id="279" r:id="rId15"/>
  </p:sldIdLst>
  <p:sldSz cx="9144000" cy="6858000" type="screen4x3"/>
  <p:notesSz cx="7010400" cy="9296400"/>
  <p:custDataLst>
    <p:tags r:id="rId17"/>
  </p:custDataLst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29">
          <p15:clr>
            <a:srgbClr val="A4A3A4"/>
          </p15:clr>
        </p15:guide>
        <p15:guide id="2" orient="horz" pos="810">
          <p15:clr>
            <a:srgbClr val="A4A3A4"/>
          </p15:clr>
        </p15:guide>
        <p15:guide id="3" orient="horz" pos="1493">
          <p15:clr>
            <a:srgbClr val="A4A3A4"/>
          </p15:clr>
        </p15:guide>
        <p15:guide id="4" pos="470">
          <p15:clr>
            <a:srgbClr val="A4A3A4"/>
          </p15:clr>
        </p15:guide>
        <p15:guide id="5" pos="132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AEE"/>
    <a:srgbClr val="CED2DC"/>
    <a:srgbClr val="CED2D2"/>
    <a:srgbClr val="FEF6F0"/>
    <a:srgbClr val="FBD5B5"/>
    <a:srgbClr val="B8CCE4"/>
    <a:srgbClr val="68CCE4"/>
    <a:srgbClr val="B9CDE5"/>
    <a:srgbClr val="95B3D7"/>
    <a:srgbClr val="1BA3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67" autoAdjust="0"/>
    <p:restoredTop sz="94639" autoAdjust="0"/>
  </p:normalViewPr>
  <p:slideViewPr>
    <p:cSldViewPr snapToGrid="0">
      <p:cViewPr varScale="1">
        <p:scale>
          <a:sx n="72" d="100"/>
          <a:sy n="72" d="100"/>
        </p:scale>
        <p:origin x="1518" y="72"/>
      </p:cViewPr>
      <p:guideLst>
        <p:guide orient="horz" pos="2629"/>
        <p:guide orient="horz" pos="810"/>
        <p:guide orient="horz" pos="1493"/>
        <p:guide pos="470"/>
        <p:guide pos="132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45720" cy="4572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C05DC3C3-82F0-4D9B-905B-D410E9D2B4EF}" type="datetimeFigureOut">
              <a:rPr lang="en-US" smtClean="0"/>
              <a:pPr/>
              <a:t>12/26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922BCB6B-DDD0-410F-889F-FEC5002ABB12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089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4631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image" Target="../media/image5.png"/><Relationship Id="rId2" Type="http://schemas.openxmlformats.org/officeDocument/2006/relationships/tags" Target="../tags/tag10.xml"/><Relationship Id="rId16" Type="http://schemas.openxmlformats.org/officeDocument/2006/relationships/image" Target="../media/image4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1.emf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3.pn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2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tags" Target="../tags/tag28.xml"/><Relationship Id="rId11" Type="http://schemas.openxmlformats.org/officeDocument/2006/relationships/image" Target="../media/image1.emf"/><Relationship Id="rId5" Type="http://schemas.openxmlformats.org/officeDocument/2006/relationships/tags" Target="../tags/tag27.xml"/><Relationship Id="rId10" Type="http://schemas.openxmlformats.org/officeDocument/2006/relationships/oleObject" Target="../embeddings/oleObject4.bin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image" Target="../media/image5.png"/><Relationship Id="rId2" Type="http://schemas.openxmlformats.org/officeDocument/2006/relationships/tags" Target="../tags/tag33.xml"/><Relationship Id="rId1" Type="http://schemas.openxmlformats.org/officeDocument/2006/relationships/vmlDrawing" Target="../drawings/vmlDrawing6.vml"/><Relationship Id="rId6" Type="http://schemas.openxmlformats.org/officeDocument/2006/relationships/tags" Target="../tags/tag37.xml"/><Relationship Id="rId11" Type="http://schemas.openxmlformats.org/officeDocument/2006/relationships/image" Target="../media/image4.jpeg"/><Relationship Id="rId5" Type="http://schemas.openxmlformats.org/officeDocument/2006/relationships/tags" Target="../tags/tag36.xml"/><Relationship Id="rId10" Type="http://schemas.openxmlformats.org/officeDocument/2006/relationships/image" Target="../media/image1.emf"/><Relationship Id="rId4" Type="http://schemas.openxmlformats.org/officeDocument/2006/relationships/tags" Target="../tags/tag35.xml"/><Relationship Id="rId9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438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1" y="-9524"/>
            <a:ext cx="9144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 userDrawn="1">
            <p:custDataLst>
              <p:tags r:id="rId4"/>
            </p:custDataLst>
          </p:nvPr>
        </p:nvSpPr>
        <p:spPr>
          <a:xfrm>
            <a:off x="1838325" y="3383280"/>
            <a:ext cx="7305676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2313084" y="1690686"/>
            <a:ext cx="583311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313084" y="3467100"/>
            <a:ext cx="585216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2313084" y="4248150"/>
            <a:ext cx="321945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989056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2" name="Group 21"/>
          <p:cNvGrpSpPr/>
          <p:nvPr userDrawn="1">
            <p:custDataLst>
              <p:tags r:id="rId9"/>
            </p:custDataLst>
          </p:nvPr>
        </p:nvGrpSpPr>
        <p:grpSpPr>
          <a:xfrm>
            <a:off x="-1057274" y="-484331"/>
            <a:ext cx="3046330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</p:grpSp>
      <p:sp>
        <p:nvSpPr>
          <p:cNvPr id="16" name="Rectangle 15"/>
          <p:cNvSpPr/>
          <p:nvPr userDrawn="1">
            <p:custDataLst>
              <p:tags r:id="rId10"/>
            </p:custDataLst>
          </p:nvPr>
        </p:nvSpPr>
        <p:spPr>
          <a:xfrm>
            <a:off x="1" y="4619624"/>
            <a:ext cx="9144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pic>
        <p:nvPicPr>
          <p:cNvPr id="8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6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2070" r="20026" b="11812"/>
          <a:stretch/>
        </p:blipFill>
        <p:spPr bwMode="auto">
          <a:xfrm>
            <a:off x="5498248" y="5557688"/>
            <a:ext cx="1122645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7593" y="5666307"/>
            <a:ext cx="17337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0" y="4617720"/>
            <a:ext cx="9144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814675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5418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5881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ido,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3094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477678" y="0"/>
            <a:ext cx="8666321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819150" y="433512"/>
            <a:ext cx="7738274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352425" y="-398782"/>
            <a:ext cx="983076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</p:grpSp>
      <p:sp>
        <p:nvSpPr>
          <p:cNvPr id="14" name="Rectangle 13"/>
          <p:cNvSpPr/>
          <p:nvPr userDrawn="1">
            <p:custDataLst>
              <p:tags r:id="rId6"/>
            </p:custDataLst>
          </p:nvPr>
        </p:nvSpPr>
        <p:spPr>
          <a:xfrm rot="10800000" flipH="1" flipV="1">
            <a:off x="-1" y="6724298"/>
            <a:ext cx="7038975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6693696" y="6197601"/>
            <a:ext cx="1863728" cy="667386"/>
            <a:chOff x="6855280" y="6288821"/>
            <a:chExt cx="1703774" cy="576165"/>
          </a:xfrm>
        </p:grpSpPr>
        <p:pic>
          <p:nvPicPr>
            <p:cNvPr id="16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855280" y="6288821"/>
              <a:ext cx="618324" cy="576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7" descr="http://www.mininterior.gov.co/sites/default/files/galeria-imagenes/2014-logo_web_eslogan.png"/>
            <p:cNvPicPr>
              <a:picLocks noChangeAspect="1" noChangeArrowheads="1"/>
            </p:cNvPicPr>
            <p:nvPr userDrawn="1">
              <p:custDataLst>
                <p:tags r:id="rId8"/>
              </p:custDataLst>
            </p:nvPr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5909" y="6363329"/>
              <a:ext cx="973145" cy="465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80896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2047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996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7227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7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06613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2374900" y="3683000"/>
            <a:ext cx="5956300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pic>
        <p:nvPicPr>
          <p:cNvPr id="11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 rotWithShape="1">
          <a:blip r:embed="rId11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2070" r="20026" b="11812"/>
          <a:stretch/>
        </p:blipFill>
        <p:spPr bwMode="auto">
          <a:xfrm>
            <a:off x="5358548" y="5811900"/>
            <a:ext cx="1122645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893" y="5920519"/>
            <a:ext cx="17337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 userDrawn="1">
            <p:custDataLst>
              <p:tags r:id="rId7"/>
            </p:custDataLst>
          </p:nvPr>
        </p:nvGrpSpPr>
        <p:grpSpPr>
          <a:xfrm>
            <a:off x="391016" y="4632333"/>
            <a:ext cx="1368413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  <p:sp>
          <p:nvSpPr>
            <p:cNvPr id="1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9959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10" Type="http://schemas.openxmlformats.org/officeDocument/2006/relationships/tags" Target="../tags/tag4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261536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2 Marcador de texto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286246" y="1250344"/>
            <a:ext cx="8579458" cy="4969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8674100" y="6451341"/>
            <a:ext cx="4325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+mj-lt"/>
                <a:cs typeface="+mn-cs"/>
                <a:sym typeface="Candara"/>
              </a:defRPr>
            </a:lvl1pPr>
          </a:lstStyle>
          <a:p>
            <a:pPr>
              <a:defRPr/>
            </a:pPr>
            <a:fld id="{CC308BA6-CE2B-4543-82B0-7E6DCE132E0F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6693696" y="6197601"/>
            <a:ext cx="1863728" cy="667386"/>
            <a:chOff x="6855280" y="6288821"/>
            <a:chExt cx="1703774" cy="576165"/>
          </a:xfrm>
        </p:grpSpPr>
        <p:pic>
          <p:nvPicPr>
            <p:cNvPr id="1031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 rotWithShape="1">
            <a:blip r:embed="rId18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855280" y="6288821"/>
              <a:ext cx="618324" cy="576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7" descr="http://www.mininterior.gov.co/sites/default/files/galeria-imagenes/2014-logo_web_eslogan.png"/>
            <p:cNvPicPr>
              <a:picLocks noChangeAspect="1" noChangeArrowheads="1"/>
            </p:cNvPicPr>
            <p:nvPr userDrawn="1">
              <p:custDataLst>
                <p:tags r:id="rId15"/>
              </p:custDataLst>
            </p:nvPr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5909" y="6363329"/>
              <a:ext cx="973145" cy="465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26" name="1 Marcador de título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286246" y="262340"/>
            <a:ext cx="859536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19" name="Rectangle 18"/>
          <p:cNvSpPr/>
          <p:nvPr userDrawn="1">
            <p:custDataLst>
              <p:tags r:id="rId12"/>
            </p:custDataLst>
          </p:nvPr>
        </p:nvSpPr>
        <p:spPr>
          <a:xfrm rot="10800000" flipH="1" flipV="1">
            <a:off x="285252" y="1059059"/>
            <a:ext cx="8589667" cy="4572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  <a:alpha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3"/>
            </p:custDataLst>
          </p:nvPr>
        </p:nvSpPr>
        <p:spPr>
          <a:xfrm rot="10800000" flipH="1" flipV="1">
            <a:off x="0" y="6716678"/>
            <a:ext cx="6577014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781156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6" r:id="rId2"/>
    <p:sldLayoutId id="2147483673" r:id="rId3"/>
    <p:sldLayoutId id="2147483667" r:id="rId4"/>
    <p:sldLayoutId id="2147483674" r:id="rId5"/>
  </p:sldLayoutIdLst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Candara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7800" indent="-177800" algn="just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Font typeface="Arial" charset="0"/>
        <a:buChar char="•"/>
        <a:defRPr sz="1600" b="0" kern="1200">
          <a:solidFill>
            <a:schemeClr val="tx1"/>
          </a:solidFill>
          <a:latin typeface="+mj-lt"/>
          <a:ea typeface="+mn-ea"/>
          <a:cs typeface="+mn-cs"/>
        </a:defRPr>
      </a:lvl1pPr>
      <a:lvl2pPr marL="342900" indent="-168275" algn="just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Font typeface="Arial" charset="0"/>
        <a:buChar char="–"/>
        <a:defRPr sz="1600" kern="1200">
          <a:solidFill>
            <a:schemeClr val="tx1"/>
          </a:solidFill>
          <a:latin typeface="+mj-lt"/>
          <a:ea typeface="+mn-ea"/>
          <a:cs typeface="+mn-cs"/>
        </a:defRPr>
      </a:lvl2pPr>
      <a:lvl3pPr marL="517525" indent="-174625" algn="just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SzPct val="80000"/>
        <a:buFont typeface="Arial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85800" indent="-168275" algn="just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Font typeface="Arial" charset="0"/>
        <a:buChar char="–"/>
        <a:tabLst/>
        <a:defRPr sz="1600" kern="1200">
          <a:solidFill>
            <a:schemeClr val="tx1"/>
          </a:solidFill>
          <a:latin typeface="+mj-lt"/>
          <a:ea typeface="+mn-ea"/>
          <a:cs typeface="+mn-cs"/>
        </a:defRPr>
      </a:lvl4pPr>
      <a:lvl5pPr marL="860425" indent="-174625" algn="just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Font typeface="Arial" charset="0"/>
        <a:buChar char="»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2" Type="http://schemas.openxmlformats.org/officeDocument/2006/relationships/tags" Target="../tags/tag39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" name="Object 1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28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le 38"/>
          <p:cNvSpPr>
            <a:spLocks noGrp="1"/>
          </p:cNvSpPr>
          <p:nvPr>
            <p:ph type="ctrTitle"/>
          </p:nvPr>
        </p:nvSpPr>
        <p:spPr>
          <a:xfrm>
            <a:off x="2313084" y="1690686"/>
            <a:ext cx="5833110" cy="1470025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ESTADISTICAS GESTIÓN DEL TALENTO HUMANO.</a:t>
            </a:r>
          </a:p>
        </p:txBody>
      </p:sp>
      <p:sp>
        <p:nvSpPr>
          <p:cNvPr id="132" name="Text Placeholder 131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2313084" y="4248150"/>
            <a:ext cx="3219450" cy="361950"/>
          </a:xfrm>
        </p:spPr>
        <p:txBody>
          <a:bodyPr/>
          <a:lstStyle/>
          <a:p>
            <a:r>
              <a:rPr lang="es-ES" dirty="0"/>
              <a:t>Diciembre 31 de 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850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ym typeface="Candara"/>
              </a:rPr>
              <a:t>Declaración bienes y rentas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178321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11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95038" y="897924"/>
            <a:ext cx="8595361" cy="518984"/>
          </a:xfrm>
        </p:spPr>
        <p:txBody>
          <a:bodyPr/>
          <a:lstStyle/>
          <a:p>
            <a:r>
              <a:rPr lang="es-ES" dirty="0">
                <a:sym typeface="Candara"/>
              </a:rPr>
              <a:t>Declaración bienes y rentas-2014</a:t>
            </a:r>
            <a:br>
              <a:rPr lang="es-ES" dirty="0">
                <a:sym typeface="Candara"/>
              </a:rPr>
            </a:br>
            <a:endParaRPr lang="es-CO" dirty="0"/>
          </a:p>
        </p:txBody>
      </p:sp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7618214"/>
              </p:ext>
            </p:extLst>
          </p:nvPr>
        </p:nvGraphicFramePr>
        <p:xfrm>
          <a:off x="596613" y="1634391"/>
          <a:ext cx="7385851" cy="33291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7759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50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802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546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endParaRPr lang="es-CO" sz="1600" dirty="0"/>
                    </a:p>
                    <a:p>
                      <a:pPr algn="ctr"/>
                      <a:r>
                        <a:rPr lang="es-CO" sz="1600" dirty="0"/>
                        <a:t>NIVE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</a:t>
                      </a:r>
                      <a:r>
                        <a:rPr lang="es-CO" sz="1600" baseline="0" dirty="0"/>
                        <a:t> de funcionarios a los que se les expidió al ingreso declaración de bienes y rentas</a:t>
                      </a:r>
                      <a:endParaRPr lang="es-CO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</a:t>
                      </a:r>
                      <a:r>
                        <a:rPr lang="es-CO" sz="1600" baseline="0" dirty="0"/>
                        <a:t> de declaraciones actualizadas</a:t>
                      </a:r>
                      <a:endParaRPr lang="es-CO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r>
                        <a:rPr lang="es-CO" sz="1600" b="1" dirty="0"/>
                        <a:t>Directivo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eso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1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16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fesiona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3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écnico* (Técnico Asistencial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9560">
                <a:tc rowSpan="2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s-CO" sz="16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istenc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s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956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poy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2280">
                <a:tc gridSpan="2"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/>
                        <a:t>236</a:t>
                      </a:r>
                      <a:endParaRPr lang="es-CO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0" name="Título 2"/>
          <p:cNvSpPr txBox="1">
            <a:spLocks/>
          </p:cNvSpPr>
          <p:nvPr/>
        </p:nvSpPr>
        <p:spPr bwMode="auto">
          <a:xfrm>
            <a:off x="388555" y="5475157"/>
            <a:ext cx="7747527" cy="518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2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1200" dirty="0">
                <a:sym typeface="Candara"/>
              </a:rPr>
              <a:t>* Incluye asistenciales (secretarias, conductores, mensajeros, archivistas etc.)</a:t>
            </a:r>
            <a:br>
              <a:rPr lang="es-ES" sz="1200" dirty="0">
                <a:sym typeface="Candara"/>
              </a:rPr>
            </a:br>
            <a:endParaRPr lang="es-CO" sz="1200" dirty="0"/>
          </a:p>
        </p:txBody>
      </p:sp>
    </p:spTree>
    <p:extLst>
      <p:ext uri="{BB962C8B-B14F-4D97-AF65-F5344CB8AC3E}">
        <p14:creationId xmlns:p14="http://schemas.microsoft.com/office/powerpoint/2010/main" val="2407540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ym typeface="Candara"/>
              </a:rPr>
              <a:t>Funcionarios capacitados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71080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13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43083" y="72735"/>
            <a:ext cx="8595361" cy="789709"/>
          </a:xfrm>
        </p:spPr>
        <p:txBody>
          <a:bodyPr/>
          <a:lstStyle/>
          <a:p>
            <a:r>
              <a:rPr lang="es-ES" dirty="0">
                <a:sym typeface="Candara"/>
              </a:rPr>
              <a:t>Funcionarios capacitados-2015</a:t>
            </a:r>
            <a:br>
              <a:rPr lang="es-ES" dirty="0">
                <a:sym typeface="Candara"/>
              </a:rPr>
            </a:br>
            <a:endParaRPr lang="es-CO" dirty="0"/>
          </a:p>
        </p:txBody>
      </p:sp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9989751"/>
              </p:ext>
            </p:extLst>
          </p:nvPr>
        </p:nvGraphicFramePr>
        <p:xfrm>
          <a:off x="218209" y="620199"/>
          <a:ext cx="8645236" cy="554161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675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65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87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493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1820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3775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3899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1820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7016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1821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28138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59772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2860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2860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852055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</a:tblGrid>
              <a:tr h="917656">
                <a:tc rowSpan="2">
                  <a:txBody>
                    <a:bodyPr/>
                    <a:lstStyle/>
                    <a:p>
                      <a:r>
                        <a:rPr lang="es-CO" sz="1000" dirty="0"/>
                        <a:t>Ítem</a:t>
                      </a:r>
                    </a:p>
                    <a:p>
                      <a:endParaRPr lang="es-CO" sz="1000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r>
                        <a:rPr lang="es-CO" sz="1000" dirty="0"/>
                        <a:t>Tema de la capacitación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Nombre de la capacitación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Número</a:t>
                      </a:r>
                      <a:r>
                        <a:rPr lang="es-CO" sz="1000" baseline="0" dirty="0"/>
                        <a:t> de horas de la capacitación</a:t>
                      </a:r>
                      <a:endParaRPr lang="es-CO" sz="1000" dirty="0"/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r>
                        <a:rPr lang="es-CO" sz="1000" dirty="0"/>
                        <a:t>Tipo de capacitación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s-CO" sz="12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Fecha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Directivo</a:t>
                      </a:r>
                    </a:p>
                  </a:txBody>
                  <a:tcPr vert="vert27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Asesor</a:t>
                      </a:r>
                    </a:p>
                  </a:txBody>
                  <a:tcPr vert="vert27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Profesional</a:t>
                      </a:r>
                    </a:p>
                  </a:txBody>
                  <a:tcPr vert="vert27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Técnico</a:t>
                      </a:r>
                    </a:p>
                  </a:txBody>
                  <a:tcPr vert="vert27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A. Misional</a:t>
                      </a:r>
                    </a:p>
                  </a:txBody>
                  <a:tcPr vert="vert27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A. Apoyo</a:t>
                      </a:r>
                    </a:p>
                  </a:txBody>
                  <a:tcPr vert="vert27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Provisional</a:t>
                      </a:r>
                    </a:p>
                  </a:txBody>
                  <a:tcPr vert="vert27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Contratista</a:t>
                      </a:r>
                    </a:p>
                  </a:txBody>
                  <a:tcPr vert="vert27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Temporal</a:t>
                      </a:r>
                    </a:p>
                  </a:txBody>
                  <a:tcPr vert="vert27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b="1" dirty="0"/>
                        <a:t>Total  funcionarios capacitados por tema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150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rna</a:t>
                      </a: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erna</a:t>
                      </a:r>
                    </a:p>
                  </a:txBody>
                  <a:tcPr vert="vert270" anchor="ctr"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IDIOMA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FORMACIÓN VIRTUAL INGLÉ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MX" sz="18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4/08/20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CTUALIZACIÓN ADMINISTRATI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FORMACIÓN VIRTUAL: LECTURA CRÍTIC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8/08/20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FORMACIÓN VIRTUAL: OFIMÁTICA EXCEL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8/08/20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TALLER: PRESENTACIONES DE IMPACTO POWER POIN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3/07/20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 rowSpan="9">
                  <a:txBody>
                    <a:bodyPr/>
                    <a:lstStyle/>
                    <a:p>
                      <a:pPr algn="l" fontAlgn="ctr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INFRAESTRUCTURA AL DÍ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TALLER DE SEGURIDAD VIAL - SEÑALIZACIÓN VERTICAL Y HORIZONTAL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7/05/20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9413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TALLER TALUDE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1/06/20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TALLER SEG. VIAL - NUEVO MANUAL DE SEÑALIZACIÓN VIAL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6/05/2015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s-MX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FORO INTERNACIONAL DE CALIDAD EN CONCRET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2/07/20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CONFERENCIA RETOS PARA LA GESTIÓN DE LAS APP´s EN COLOMBI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8/09/20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4155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PAVIMENTO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4/10/20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46685"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FUNCIÓN DE SUPERVISIÓN Y DIFERENCIAS CON INTERVENTORÍA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8/11/2015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8951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s-MX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168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14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63865" y="207818"/>
            <a:ext cx="8595361" cy="720717"/>
          </a:xfrm>
        </p:spPr>
        <p:txBody>
          <a:bodyPr/>
          <a:lstStyle/>
          <a:p>
            <a:r>
              <a:rPr lang="es-ES" dirty="0">
                <a:sym typeface="Candara"/>
              </a:rPr>
              <a:t>Funcionarios capacitados-2015</a:t>
            </a:r>
            <a:br>
              <a:rPr lang="es-ES" dirty="0">
                <a:sym typeface="Candara"/>
              </a:rPr>
            </a:br>
            <a:endParaRPr lang="es-CO" dirty="0"/>
          </a:p>
        </p:txBody>
      </p:sp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1176030"/>
              </p:ext>
            </p:extLst>
          </p:nvPr>
        </p:nvGraphicFramePr>
        <p:xfrm>
          <a:off x="249381" y="620199"/>
          <a:ext cx="8728364" cy="568194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364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65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87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493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1820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3775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3899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5977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5931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6970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59772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59773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2860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872836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</a:tblGrid>
              <a:tr h="917656">
                <a:tc rowSpan="2">
                  <a:txBody>
                    <a:bodyPr/>
                    <a:lstStyle/>
                    <a:p>
                      <a:r>
                        <a:rPr lang="es-CO" sz="1000" dirty="0"/>
                        <a:t>Ítem</a:t>
                      </a:r>
                    </a:p>
                    <a:p>
                      <a:endParaRPr lang="es-CO" sz="1000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r>
                        <a:rPr lang="es-CO" sz="1000" dirty="0"/>
                        <a:t>Tema de la capacitación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Nombre de la capacitación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Número</a:t>
                      </a:r>
                      <a:r>
                        <a:rPr lang="es-CO" sz="1000" baseline="0" dirty="0"/>
                        <a:t> de horas de la capacitación</a:t>
                      </a:r>
                      <a:endParaRPr lang="es-CO" sz="1000" dirty="0"/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r>
                        <a:rPr lang="es-CO" sz="1000" dirty="0"/>
                        <a:t>Tipo de capacitación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s-CO" sz="12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Fecha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Directivo</a:t>
                      </a:r>
                    </a:p>
                  </a:txBody>
                  <a:tcPr vert="vert27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Asesor</a:t>
                      </a:r>
                    </a:p>
                  </a:txBody>
                  <a:tcPr vert="vert27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Profesional</a:t>
                      </a:r>
                    </a:p>
                  </a:txBody>
                  <a:tcPr vert="vert27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Técnico</a:t>
                      </a:r>
                    </a:p>
                  </a:txBody>
                  <a:tcPr vert="vert27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A. Misional</a:t>
                      </a:r>
                    </a:p>
                  </a:txBody>
                  <a:tcPr vert="vert27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A. Apoyo</a:t>
                      </a:r>
                    </a:p>
                  </a:txBody>
                  <a:tcPr vert="vert27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Provisional</a:t>
                      </a:r>
                    </a:p>
                  </a:txBody>
                  <a:tcPr vert="vert27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Contratista</a:t>
                      </a:r>
                    </a:p>
                  </a:txBody>
                  <a:tcPr vert="vert27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dirty="0"/>
                        <a:t>Temporal</a:t>
                      </a:r>
                    </a:p>
                  </a:txBody>
                  <a:tcPr vert="vert27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s-CO" sz="1000" b="1" dirty="0"/>
                        <a:t>Total  funcionarios capacitados por tema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150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rna</a:t>
                      </a:r>
                    </a:p>
                  </a:txBody>
                  <a:tcPr vert="vert27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erna</a:t>
                      </a:r>
                    </a:p>
                  </a:txBody>
                  <a:tcPr vert="vert270" anchor="ctr"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055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FINANZAS APLICADA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FINANZAS PARA NO FINANCIERO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1/08/20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SEMINARIO FINANZAS PÚBLICAS Y PRESUPUEST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2/07/20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9878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 rowSpan="7">
                  <a:txBody>
                    <a:bodyPr/>
                    <a:lstStyle/>
                    <a:p>
                      <a:pPr algn="l" fontAlgn="ctr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CTUALIZACIÓN JURÍDIC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SEMINARIO CONTRATACIÓN ESTATAL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8/06/20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CHARLA CONTRATACIÓN ESTATAL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5/08/2015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6149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24691"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RBITRAMENTO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0/09/2015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44953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8488"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SEGUROS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5/10/2015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10894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1087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INDUCCIÓ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MANUAL FUNCIONES, BIENES Y RENTA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5/03/20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NI, SIST. INTEGRADO DE CALIDAD, ORFEO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0/07/2015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r" fontAlgn="b"/>
                      <a:endParaRPr lang="es-MX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6758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RE INDUCCIÓ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SEMINARIO GESTIÓN DEL TH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6/07/20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GESTIÓN DOCUMENT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SEMINARIO TABLAS DE RETENCIÓN DOCUMENTAL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0/07/20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1105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CTUALIZACIÓN ORFE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4/08/20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1821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NTICORRUPCIÓ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DECRETO LEY ANTITRÁMITE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1/08/20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9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7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395837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es-MX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DERECHOS DE PETICIÓN - ATENCIÓN AL CIUDADAN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7/09/20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0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NIIF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TALLER NORMAS INTERNACIONALES DE INFORMACIÓN FINANCIER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9y16-10-20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MX" sz="1100" b="0" i="0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1" i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8696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ym typeface="Candara"/>
              </a:rPr>
              <a:t>Planta de personal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042874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3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95038" y="897924"/>
            <a:ext cx="8595361" cy="518984"/>
          </a:xfrm>
        </p:spPr>
        <p:txBody>
          <a:bodyPr/>
          <a:lstStyle/>
          <a:p>
            <a:r>
              <a:rPr lang="es-ES" dirty="0">
                <a:sym typeface="Candara"/>
              </a:rPr>
              <a:t>Planta de personal aprobada-2015</a:t>
            </a:r>
            <a:br>
              <a:rPr lang="es-ES" dirty="0">
                <a:sym typeface="Candara"/>
              </a:rPr>
            </a:br>
            <a:endParaRPr lang="es-CO" dirty="0"/>
          </a:p>
        </p:txBody>
      </p:sp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2864959"/>
              </p:ext>
            </p:extLst>
          </p:nvPr>
        </p:nvGraphicFramePr>
        <p:xfrm>
          <a:off x="596613" y="1634391"/>
          <a:ext cx="7992210" cy="46499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2497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31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5295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891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0550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endParaRPr lang="es-CO" sz="1600" dirty="0"/>
                    </a:p>
                    <a:p>
                      <a:endParaRPr lang="es-CO" sz="1600" dirty="0"/>
                    </a:p>
                    <a:p>
                      <a:pPr algn="ctr"/>
                      <a:r>
                        <a:rPr lang="es-CO" sz="1600" dirty="0"/>
                        <a:t>NIVE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 de cargos establecidos por la planta de persona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</a:t>
                      </a:r>
                      <a:r>
                        <a:rPr lang="es-CO" sz="1600" baseline="0" dirty="0"/>
                        <a:t> de cargos provistos</a:t>
                      </a:r>
                      <a:endParaRPr lang="es-CO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 de cargos vacan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</a:t>
                      </a:r>
                      <a:r>
                        <a:rPr lang="es-CO" sz="1600" baseline="0" dirty="0"/>
                        <a:t> ingresos o vinculaciones</a:t>
                      </a:r>
                      <a:endParaRPr lang="es-CO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r>
                        <a:rPr lang="es-CO" sz="1600" b="1" dirty="0"/>
                        <a:t>Directivo (Presidente y Vicepresidente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esor (Gerentes y Experto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1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1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fesional (Gestores y Analista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écnico* (Técnico Asistencial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9560">
                <a:tc rowSpan="2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s-CO" sz="16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istenc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s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956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poy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2280">
                <a:tc gridSpan="2"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4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4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0" name="Título 2"/>
          <p:cNvSpPr txBox="1">
            <a:spLocks/>
          </p:cNvSpPr>
          <p:nvPr/>
        </p:nvSpPr>
        <p:spPr bwMode="auto">
          <a:xfrm>
            <a:off x="627546" y="6339016"/>
            <a:ext cx="8595361" cy="518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2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1200" dirty="0">
                <a:sym typeface="Candara"/>
              </a:rPr>
              <a:t>* Incluye asistenciales (secretarias, conductores, mensajeros, archivistas etc.)</a:t>
            </a:r>
            <a:br>
              <a:rPr lang="es-ES" sz="1200" dirty="0">
                <a:sym typeface="Candara"/>
              </a:rPr>
            </a:br>
            <a:endParaRPr lang="es-CO" sz="1200" dirty="0"/>
          </a:p>
        </p:txBody>
      </p:sp>
    </p:spTree>
    <p:extLst>
      <p:ext uri="{BB962C8B-B14F-4D97-AF65-F5344CB8AC3E}">
        <p14:creationId xmlns:p14="http://schemas.microsoft.com/office/powerpoint/2010/main" val="1571172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ym typeface="Candara"/>
              </a:rPr>
              <a:t>Funcionarios de libre nombramiento y remoción seleccionados por meritocracia.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780745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5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95038" y="897924"/>
            <a:ext cx="8595361" cy="518984"/>
          </a:xfrm>
        </p:spPr>
        <p:txBody>
          <a:bodyPr/>
          <a:lstStyle/>
          <a:p>
            <a:r>
              <a:rPr lang="es-ES" dirty="0">
                <a:sym typeface="Candara"/>
              </a:rPr>
              <a:t>Funcionarios de libre nombramiento y remoción seleccionados por meritocracia-2015</a:t>
            </a:r>
            <a:br>
              <a:rPr lang="es-ES" dirty="0">
                <a:sym typeface="Candara"/>
              </a:rPr>
            </a:br>
            <a:endParaRPr lang="es-CO" dirty="0"/>
          </a:p>
        </p:txBody>
      </p:sp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4537399"/>
              </p:ext>
            </p:extLst>
          </p:nvPr>
        </p:nvGraphicFramePr>
        <p:xfrm>
          <a:off x="1862074" y="2355360"/>
          <a:ext cx="5461287" cy="20624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7597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015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s-CO" sz="1600" dirty="0"/>
                    </a:p>
                    <a:p>
                      <a:pPr algn="ctr"/>
                      <a:r>
                        <a:rPr lang="es-CO" sz="1600" dirty="0"/>
                        <a:t>NIV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 de funcionarios a los que se surtió un proceso de meritocrácia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sz="1600" b="1" dirty="0"/>
                        <a:t>Directiv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es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fes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écni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6133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ym typeface="Candara"/>
              </a:rPr>
              <a:t>Cargos por nivel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262926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7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95038" y="897924"/>
            <a:ext cx="8595361" cy="518984"/>
          </a:xfrm>
        </p:spPr>
        <p:txBody>
          <a:bodyPr/>
          <a:lstStyle/>
          <a:p>
            <a:r>
              <a:rPr lang="es-ES" dirty="0">
                <a:sym typeface="Candara"/>
              </a:rPr>
              <a:t>Cargos por nivel-2015</a:t>
            </a:r>
            <a:br>
              <a:rPr lang="es-ES" dirty="0">
                <a:sym typeface="Candara"/>
              </a:rPr>
            </a:br>
            <a:endParaRPr lang="es-CO" dirty="0"/>
          </a:p>
        </p:txBody>
      </p:sp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1066138"/>
              </p:ext>
            </p:extLst>
          </p:nvPr>
        </p:nvGraphicFramePr>
        <p:xfrm>
          <a:off x="790831" y="1243252"/>
          <a:ext cx="7595287" cy="48768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1930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969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052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Denominació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 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dirty="0"/>
                        <a:t>Número</a:t>
                      </a:r>
                      <a:r>
                        <a:rPr lang="es-CO" sz="1600" baseline="0" dirty="0"/>
                        <a:t> ingresos o vinculaciones</a:t>
                      </a:r>
                      <a:endParaRPr lang="es-CO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sz="1400" b="1" dirty="0"/>
                        <a:t>1.</a:t>
                      </a:r>
                      <a:r>
                        <a:rPr lang="es-CO" sz="1400" b="1" baseline="0" dirty="0"/>
                        <a:t> Funcionarios en la planta de personal</a:t>
                      </a:r>
                      <a:endParaRPr lang="es-CO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24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5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. Funcionarios inscritos en carrera administrativ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. Funcionarios de libre nombramiento y remoció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. Funcionarios ordenadores de gas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. Contratistas</a:t>
                      </a:r>
                      <a:r>
                        <a:rPr lang="es-CO" sz="14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or servicios personales (persona natural-directa)</a:t>
                      </a:r>
                      <a:endParaRPr lang="es-CO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25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25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. Contratistas</a:t>
                      </a:r>
                      <a:r>
                        <a:rPr lang="es-CO" sz="14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or servicios personales (cooperación internacional y outsoursing)</a:t>
                      </a:r>
                      <a:endParaRPr lang="es-CO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. Contratistas</a:t>
                      </a:r>
                      <a:r>
                        <a:rPr lang="es-CO" sz="14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or servicios personales a través de outsoursing</a:t>
                      </a:r>
                      <a:endParaRPr lang="es-CO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. Funcionarios</a:t>
                      </a:r>
                      <a:r>
                        <a:rPr lang="es-CO" sz="14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atalogados como trabajadores oficiales</a:t>
                      </a:r>
                      <a:endParaRPr lang="es-CO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. Funcionarios provisiona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1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. Funcionarios tempora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915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ym typeface="Candara"/>
              </a:rPr>
              <a:t>Evaluación desempeño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86136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9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95038" y="897924"/>
            <a:ext cx="8595361" cy="518984"/>
          </a:xfrm>
        </p:spPr>
        <p:txBody>
          <a:bodyPr/>
          <a:lstStyle/>
          <a:p>
            <a:r>
              <a:rPr lang="es-ES" dirty="0">
                <a:sym typeface="Candara"/>
              </a:rPr>
              <a:t>Evaluación desempeño-2014</a:t>
            </a:r>
            <a:br>
              <a:rPr lang="es-ES" dirty="0">
                <a:sym typeface="Candara"/>
              </a:rPr>
            </a:br>
            <a:endParaRPr lang="es-CO" dirty="0"/>
          </a:p>
        </p:txBody>
      </p:sp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3558748"/>
              </p:ext>
            </p:extLst>
          </p:nvPr>
        </p:nvGraphicFramePr>
        <p:xfrm>
          <a:off x="1365240" y="1634391"/>
          <a:ext cx="6586702" cy="353744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2497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31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97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69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891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822960">
                <a:tc gridSpan="2">
                  <a:txBody>
                    <a:bodyPr/>
                    <a:lstStyle/>
                    <a:p>
                      <a:endParaRPr lang="es-CO" sz="1600" dirty="0"/>
                    </a:p>
                    <a:p>
                      <a:endParaRPr lang="es-CO" sz="1600" dirty="0"/>
                    </a:p>
                    <a:p>
                      <a:pPr algn="ctr"/>
                      <a:r>
                        <a:rPr lang="es-CO" sz="1600" dirty="0"/>
                        <a:t>NIVE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o. Libre nombramiento y remoció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o. Carrera administrativ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o. </a:t>
                      </a:r>
                    </a:p>
                    <a:p>
                      <a:pPr algn="ctr"/>
                      <a:r>
                        <a:rPr lang="es-CO" sz="1600" dirty="0"/>
                        <a:t>Provisionales *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r>
                        <a:rPr lang="es-CO" sz="1600" b="1" dirty="0"/>
                        <a:t>Directivo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eso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fesiona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912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écnico* (Técnico Asistencial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5280">
                <a:tc rowSpan="2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s-CO" sz="16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istenc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s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528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poy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2280">
                <a:tc gridSpan="2"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0" name="Título 2"/>
          <p:cNvSpPr txBox="1">
            <a:spLocks/>
          </p:cNvSpPr>
          <p:nvPr/>
        </p:nvSpPr>
        <p:spPr bwMode="auto">
          <a:xfrm>
            <a:off x="548639" y="5829051"/>
            <a:ext cx="8595361" cy="518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2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dirty="0">
                <a:sym typeface="Candara"/>
              </a:rPr>
              <a:t>* Incluye asistenciales (secretarias, conductores, mensajeros, archivistas etc.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" sz="1200" dirty="0">
              <a:sym typeface="Candar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200" dirty="0">
                <a:sym typeface="Candara"/>
              </a:rPr>
              <a:t>** De acuerdo con la normatividad vigente en materia de evaluación del desempeño se evalúan los empleados de Carrera Administrativa y Libre Nombramiento y  Remoción.</a:t>
            </a:r>
            <a:br>
              <a:rPr lang="es-ES" sz="1200" dirty="0">
                <a:sym typeface="Candara"/>
              </a:rPr>
            </a:br>
            <a:endParaRPr lang="es-CO" sz="1200" dirty="0"/>
          </a:p>
        </p:txBody>
      </p:sp>
    </p:spTree>
    <p:extLst>
      <p:ext uri="{BB962C8B-B14F-4D97-AF65-F5344CB8AC3E}">
        <p14:creationId xmlns:p14="http://schemas.microsoft.com/office/powerpoint/2010/main" val="1810198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2.69891059609000020000E+000&quot;&gt;&lt;m_ppcolschidx val=&quot;0&quot;/&gt;&lt;m_rgb r=&quot;95&quot; g=&quot;b3&quot; b=&quot;d7&quot;/&gt;&lt;/elem&gt;&lt;elem m_fUsage=&quot;2.27611758283289990000E+000&quot;&gt;&lt;m_ppcolschidx val=&quot;0&quot;/&gt;&lt;m_rgb r=&quot;7f&quot; g=&quot;7f&quot; b=&quot;7f&quot;/&gt;&lt;/elem&gt;&lt;elem m_fUsage=&quot;1.94753203454961050000E+000&quot;&gt;&lt;m_ppcolschidx val=&quot;0&quot;/&gt;&lt;m_rgb r=&quot;bf&quot; g=&quot;bf&quot; b=&quot;bf&quot;/&gt;&lt;/elem&gt;&lt;elem m_fUsage=&quot;1.21361826373501590000E+000&quot;&gt;&lt;m_ppcolschidx val=&quot;0&quot;/&gt;&lt;m_rgb r=&quot;36&quot; g=&quot;60&quot; b=&quot;92&quot;/&gt;&lt;/elem&gt;&lt;elem m_fUsage=&quot;1.02635124360039480000E+000&quot;&gt;&lt;m_ppcolschidx val=&quot;0&quot;/&gt;&lt;m_rgb r=&quot;d9&quot; g=&quot;d9&quot; b=&quot;d9&quot;/&gt;&lt;/elem&gt;&lt;elem m_fUsage=&quot;2.88210765068180720000E-001&quot;&gt;&lt;m_ppcolschidx val=&quot;0&quot;/&gt;&lt;m_rgb r=&quot;24&quot; g=&quot;40&quot; b=&quot;61&quot;/&gt;&lt;/elem&gt;&lt;elem m_fUsage=&quot;2.05891132094649100000E-001&quot;&gt;&lt;m_ppcolschidx val=&quot;0&quot;/&gt;&lt;m_rgb r=&quot;a6&quot; g=&quot;a6&quot; b=&quot;a6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19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1R.JuqvUKq1ooSY0XB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loeukbkC27FQiS1qU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VFNPLT8Ua98uLBCIL4c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HQrVme_EeqJHHqOdgxD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tJt2Wj10eKpMgU4_al4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6YG7AWgUWRMd25FpTc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xhAqMzkC79VmyB5OJ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aBqouLVE.2phnNOznu8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heme/theme1.xml><?xml version="1.0" encoding="utf-8"?>
<a:theme xmlns:a="http://schemas.openxmlformats.org/drawingml/2006/main" name="plantilla ANI">
  <a:themeElements>
    <a:clrScheme name="ANI2">
      <a:dk1>
        <a:srgbClr val="386295"/>
      </a:dk1>
      <a:lt1>
        <a:sysClr val="window" lastClr="FFFFFF"/>
      </a:lt1>
      <a:dk2>
        <a:srgbClr val="244061"/>
      </a:dk2>
      <a:lt2>
        <a:srgbClr val="B8CCE4"/>
      </a:lt2>
      <a:accent1>
        <a:srgbClr val="D9D9D9"/>
      </a:accent1>
      <a:accent2>
        <a:srgbClr val="A6A6A6"/>
      </a:accent2>
      <a:accent3>
        <a:srgbClr val="7F7F7F"/>
      </a:accent3>
      <a:accent4>
        <a:srgbClr val="424242"/>
      </a:accent4>
      <a:accent5>
        <a:srgbClr val="E36C09"/>
      </a:accent5>
      <a:accent6>
        <a:srgbClr val="366092"/>
      </a:accent6>
      <a:hlink>
        <a:srgbClr val="244061"/>
      </a:hlink>
      <a:folHlink>
        <a:srgbClr val="1C314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>
          <a:spcBef>
            <a:spcPts val="600"/>
          </a:spcBef>
          <a:spcAft>
            <a:spcPts val="600"/>
          </a:spcAft>
          <a:buClr>
            <a:schemeClr val="accent2"/>
          </a:buClr>
          <a:buSzPct val="120000"/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10</TotalTime>
  <Words>994</Words>
  <Application>Microsoft Office PowerPoint</Application>
  <PresentationFormat>Presentación en pantalla (4:3)</PresentationFormat>
  <Paragraphs>626</Paragraphs>
  <Slides>14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4</vt:i4>
      </vt:variant>
    </vt:vector>
  </HeadingPairs>
  <TitlesOfParts>
    <vt:vector size="19" baseType="lpstr">
      <vt:lpstr>Arial</vt:lpstr>
      <vt:lpstr>Calibri</vt:lpstr>
      <vt:lpstr>Candara</vt:lpstr>
      <vt:lpstr>plantilla ANI</vt:lpstr>
      <vt:lpstr>think-cell Slide</vt:lpstr>
      <vt:lpstr>ESTADISTICAS GESTIÓN DEL TALENTO HUMANO.</vt:lpstr>
      <vt:lpstr>Planta de personal</vt:lpstr>
      <vt:lpstr>Planta de personal aprobada-2015 </vt:lpstr>
      <vt:lpstr>Funcionarios de libre nombramiento y remoción seleccionados por meritocracia.</vt:lpstr>
      <vt:lpstr>Funcionarios de libre nombramiento y remoción seleccionados por meritocracia-2015 </vt:lpstr>
      <vt:lpstr>Cargos por nivel</vt:lpstr>
      <vt:lpstr>Cargos por nivel-2015 </vt:lpstr>
      <vt:lpstr>Evaluación desempeño</vt:lpstr>
      <vt:lpstr>Evaluación desempeño-2014 </vt:lpstr>
      <vt:lpstr>Declaración bienes y rentas</vt:lpstr>
      <vt:lpstr>Declaración bienes y rentas-2014 </vt:lpstr>
      <vt:lpstr>Funcionarios capacitados</vt:lpstr>
      <vt:lpstr>Funcionarios capacitados-2015 </vt:lpstr>
      <vt:lpstr>Funcionarios capacitados-2015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rgarita</dc:creator>
  <cp:lastModifiedBy>Diego Fernando Ramirez Sepulveda</cp:lastModifiedBy>
  <cp:revision>216</cp:revision>
  <cp:lastPrinted>2015-09-30T21:09:15Z</cp:lastPrinted>
  <dcterms:created xsi:type="dcterms:W3CDTF">2015-03-20T20:44:41Z</dcterms:created>
  <dcterms:modified xsi:type="dcterms:W3CDTF">2016-12-26T15:54:44Z</dcterms:modified>
</cp:coreProperties>
</file>